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sldIdLst>
    <p:sldId id="256" r:id="rId2"/>
    <p:sldId id="258" r:id="rId3"/>
    <p:sldId id="271" r:id="rId4"/>
    <p:sldId id="259" r:id="rId5"/>
    <p:sldId id="272" r:id="rId6"/>
    <p:sldId id="281" r:id="rId7"/>
    <p:sldId id="280" r:id="rId8"/>
    <p:sldId id="282" r:id="rId9"/>
    <p:sldId id="279" r:id="rId10"/>
    <p:sldId id="285" r:id="rId11"/>
    <p:sldId id="283" r:id="rId12"/>
    <p:sldId id="284" r:id="rId13"/>
    <p:sldId id="278" r:id="rId14"/>
    <p:sldId id="287" r:id="rId15"/>
    <p:sldId id="275" r:id="rId16"/>
    <p:sldId id="276" r:id="rId17"/>
    <p:sldId id="277" r:id="rId18"/>
    <p:sldId id="265" r:id="rId19"/>
    <p:sldId id="288" r:id="rId20"/>
    <p:sldId id="266" r:id="rId21"/>
  </p:sldIdLst>
  <p:sldSz cx="9144000" cy="6858000" type="screen4x3"/>
  <p:notesSz cx="6784975" cy="9906000"/>
  <p:custDataLst>
    <p:tags r:id="rId23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E1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77" autoAdjust="0"/>
    <p:restoredTop sz="94619" autoAdjust="0"/>
  </p:normalViewPr>
  <p:slideViewPr>
    <p:cSldViewPr>
      <p:cViewPr varScale="1">
        <p:scale>
          <a:sx n="87" d="100"/>
          <a:sy n="87" d="100"/>
        </p:scale>
        <p:origin x="1740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0156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57" tIns="45629" rIns="91257" bIns="45629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3251" y="0"/>
            <a:ext cx="2940156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57" tIns="45629" rIns="91257" bIns="45629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8498" y="4705350"/>
            <a:ext cx="5427980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57" tIns="45629" rIns="91257" bIns="4562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08981"/>
            <a:ext cx="2940156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57" tIns="45629" rIns="91257" bIns="45629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3251" y="9408981"/>
            <a:ext cx="2940156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57" tIns="45629" rIns="91257" bIns="45629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6B20ABA0-1007-4703-B048-52624A968109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9691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AutoShape 10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3" name="Picture 17" descr="TU_130227_PPT_Bild-Aussicht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DA8F5D79-C234-439C-9FED-4F54F4643ACF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357B9EC9-AFF7-4D8E-9CA8-46BCF045BCEB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F903123-4CC2-4E08-BF04-132B6B4D8D3D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776F9D54-5A9D-471C-8C89-5AF582F2DB9F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44529D57-79B9-4066-AB64-E8DCA52B115C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28CEDD57-062E-4FE9-9FE6-B10C8FE7B98E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4F2AF0D0-B71F-4E17-B028-871FB7B8FD64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CA359BB0-E196-4CA4-B775-7CB12B502B2B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F5692B56-3396-4E01-B0E9-60C228F141E2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353D5CFC-BFD5-4831-A36C-748A258A2647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 durck Klicken hinzufügen</a:t>
            </a:r>
          </a:p>
          <a:p>
            <a:pPr lvl="1"/>
            <a:r>
              <a:rPr 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Präsentationstitel Blindtext Lorem ipsum dolores | 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/>
              <a:t>Seite </a:t>
            </a:r>
            <a:fld id="{46A519C5-1353-4BA3-84B5-6781C8BA2E25}" type="slidenum">
              <a:rPr lang="de-DE"/>
              <a:pPr/>
              <a:t>‹#›</a:t>
            </a:fld>
            <a:endParaRPr lang="de-DE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" r:id="rId21" imgW="0" imgH="0" progId="">
                  <p:embed/>
                </p:oleObj>
              </mc:Choice>
              <mc:Fallback>
                <p:oleObj r:id="rId21" imgW="0" imgH="0" progId="">
                  <p:embed/>
                  <p:pic>
                    <p:nvPicPr>
                      <p:cNvPr id="0" name="AutoShape 10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4" name="Rectangle 20"/>
          <p:cNvSpPr>
            <a:spLocks noChangeArrowheads="1"/>
          </p:cNvSpPr>
          <p:nvPr/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de-DE" sz="1000"/>
              <a:t>Dezentrales Logo</a:t>
            </a:r>
          </a:p>
          <a:p>
            <a:r>
              <a:rPr lang="de-DE" sz="1000"/>
              <a:t>optional</a:t>
            </a:r>
            <a:endParaRPr lang="de-DE" sz="1800"/>
          </a:p>
        </p:txBody>
      </p:sp>
      <p:pic>
        <p:nvPicPr>
          <p:cNvPr id="1047" name="Picture 23" descr="TU_130227_PPT_Bild-Aussicht_Streifen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0000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653136"/>
            <a:ext cx="8061325" cy="769441"/>
          </a:xfrm>
        </p:spPr>
        <p:txBody>
          <a:bodyPr/>
          <a:lstStyle/>
          <a:p>
            <a:r>
              <a:rPr lang="de-DE" dirty="0" err="1" smtClean="0"/>
              <a:t>Machine</a:t>
            </a:r>
            <a:r>
              <a:rPr lang="de-DE" dirty="0" smtClean="0"/>
              <a:t> Learning in Medical Image Processing</a:t>
            </a:r>
            <a:br>
              <a:rPr lang="de-DE" dirty="0" smtClean="0"/>
            </a:br>
            <a:r>
              <a:rPr lang="de-DE" dirty="0" err="1" smtClean="0"/>
              <a:t>Midterm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endParaRPr lang="en-US" dirty="0" err="1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56709"/>
            <a:ext cx="8061325" cy="282129"/>
          </a:xfrm>
        </p:spPr>
        <p:txBody>
          <a:bodyPr/>
          <a:lstStyle/>
          <a:p>
            <a:r>
              <a:rPr lang="de-DE" dirty="0" err="1" smtClean="0"/>
              <a:t>Presentation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: </a:t>
            </a:r>
            <a:r>
              <a:rPr lang="de-DE" dirty="0" err="1" smtClean="0"/>
              <a:t>I.Racheva</a:t>
            </a:r>
            <a:r>
              <a:rPr lang="de-DE" dirty="0" smtClean="0"/>
              <a:t>……..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B5AFC-DF82-4B21-8AF9-E208F9650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dirty="0" smtClean="0">
                <a:cs typeface="Arial"/>
              </a:rPr>
              <a:t>Algorithm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E6F157-0C3B-465D-9B61-723F1B3244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itchFamily="2" charset="2"/>
              <a:buChar char="§"/>
            </a:pPr>
            <a:endParaRPr lang="en-US" sz="1800" dirty="0" smtClean="0"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40B670-D807-497F-963B-9B985C0886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FABA18-B7EF-4525-80DA-65953A931E45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911321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405304"/>
          </a:xfrm>
        </p:spPr>
        <p:txBody>
          <a:bodyPr/>
          <a:lstStyle/>
          <a:p>
            <a:r>
              <a:rPr lang="en-US" dirty="0" smtClean="0"/>
              <a:t>Preliminary Result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08DF638-BAD6-46AE-93CC-E81F29E28F67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156919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B5AFC-DF82-4B21-8AF9-E208F9650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dirty="0" smtClean="0">
                <a:cs typeface="Arial"/>
              </a:rPr>
              <a:t>Preliminary Result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E6F157-0C3B-465D-9B61-723F1B3244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itchFamily="2" charset="2"/>
              <a:buChar char="§"/>
            </a:pPr>
            <a:endParaRPr lang="en-US" sz="1800" dirty="0" smtClean="0"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40B670-D807-497F-963B-9B985C0886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FABA18-B7EF-4525-80DA-65953A931E45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592149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405304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08DF638-BAD6-46AE-93CC-E81F29E28F67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761883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B5AFC-DF82-4B21-8AF9-E208F9650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dirty="0" smtClean="0">
                <a:cs typeface="Arial"/>
              </a:rPr>
              <a:t>Dem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E6F157-0C3B-465D-9B61-723F1B3244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e-DE" sz="1800" dirty="0" smtClean="0">
                <a:cs typeface="Arial"/>
              </a:rPr>
              <a:t>Pictures </a:t>
            </a:r>
            <a:r>
              <a:rPr lang="de-DE" sz="1800" dirty="0" err="1" smtClean="0">
                <a:cs typeface="Arial"/>
              </a:rPr>
              <a:t>of</a:t>
            </a:r>
            <a:r>
              <a:rPr lang="de-DE" sz="1800" dirty="0" smtClean="0">
                <a:cs typeface="Arial"/>
              </a:rPr>
              <a:t> </a:t>
            </a:r>
            <a:r>
              <a:rPr lang="de-DE" sz="1800" dirty="0" err="1" smtClean="0">
                <a:cs typeface="Arial"/>
              </a:rPr>
              <a:t>test</a:t>
            </a:r>
            <a:r>
              <a:rPr lang="de-DE" sz="1800" dirty="0" smtClean="0">
                <a:cs typeface="Arial"/>
              </a:rPr>
              <a:t> </a:t>
            </a:r>
            <a:r>
              <a:rPr lang="de-DE" sz="1800" dirty="0" err="1" smtClean="0">
                <a:cs typeface="Arial"/>
              </a:rPr>
              <a:t>run</a:t>
            </a:r>
            <a:r>
              <a:rPr lang="de-DE" sz="1800" dirty="0" smtClean="0">
                <a:cs typeface="Arial"/>
              </a:rPr>
              <a:t> -&gt; (</a:t>
            </a:r>
            <a:r>
              <a:rPr lang="de-DE" sz="1800" dirty="0" err="1" smtClean="0">
                <a:cs typeface="Arial"/>
              </a:rPr>
              <a:t>Results</a:t>
            </a:r>
            <a:r>
              <a:rPr lang="de-DE" sz="1800" dirty="0" smtClean="0">
                <a:cs typeface="Arial"/>
              </a:rPr>
              <a:t> + </a:t>
            </a:r>
            <a:r>
              <a:rPr lang="de-DE" sz="1800" dirty="0" err="1" smtClean="0">
                <a:cs typeface="Arial"/>
              </a:rPr>
              <a:t>Explainability</a:t>
            </a:r>
            <a:r>
              <a:rPr lang="de-DE" sz="1800" dirty="0" smtClean="0">
                <a:cs typeface="Arial"/>
              </a:rPr>
              <a:t>)</a:t>
            </a:r>
            <a:endParaRPr lang="en-US" sz="1800" dirty="0" smtClean="0"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40B670-D807-497F-963B-9B985C0886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FABA18-B7EF-4525-80DA-65953A931E45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774431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405304"/>
          </a:xfrm>
        </p:spPr>
        <p:txBody>
          <a:bodyPr/>
          <a:lstStyle/>
          <a:p>
            <a:r>
              <a:rPr lang="en-US" dirty="0" smtClean="0"/>
              <a:t>Encountered Challenge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08DF638-BAD6-46AE-93CC-E81F29E28F67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2354416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B5AFC-DF82-4B21-8AF9-E208F9650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dirty="0" smtClean="0"/>
              <a:t>Encountered Challeng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E6F157-0C3B-465D-9B61-723F1B3244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</a:pPr>
            <a:endParaRPr lang="en-US" sz="1800" dirty="0" smtClean="0"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40B670-D807-497F-963B-9B985C0886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FABA18-B7EF-4525-80DA-65953A931E45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146774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405304"/>
          </a:xfrm>
        </p:spPr>
        <p:txBody>
          <a:bodyPr/>
          <a:lstStyle/>
          <a:p>
            <a:r>
              <a:rPr lang="en-US" dirty="0" smtClean="0"/>
              <a:t>Milestone Schedule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08DF638-BAD6-46AE-93CC-E81F29E28F67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1653274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2E4F9D-3733-4A1D-B405-465B04E4B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dirty="0">
                <a:cs typeface="Arial"/>
              </a:rPr>
              <a:t>Schedu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99052E-2045-481F-BCFD-3DC78D81AC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Tx/>
              <a:buAutoNum type="arabicPeriod"/>
            </a:pPr>
            <a:endParaRPr lang="en-US" sz="1800" b="1" dirty="0">
              <a:latin typeface="Arial"/>
              <a:ea typeface="Arial"/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43FB2-B3B9-4E74-8D0A-C2AB59A866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8D99DA-79E7-4495-944F-BEC75C37D562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750287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2E4F9D-3733-4A1D-B405-465B04E4B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dirty="0" smtClean="0">
                <a:cs typeface="Arial"/>
              </a:rPr>
              <a:t>References</a:t>
            </a:r>
            <a:endParaRPr lang="en-US" dirty="0"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99052E-2045-481F-BCFD-3DC78D81AC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Tx/>
              <a:buAutoNum type="arabicPeriod"/>
            </a:pPr>
            <a:endParaRPr lang="en-US" sz="1800" b="1" dirty="0">
              <a:latin typeface="Arial"/>
              <a:ea typeface="Arial"/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43FB2-B3B9-4E74-8D0A-C2AB59A866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8D99DA-79E7-4495-944F-BEC75C37D562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243023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552" y="1412777"/>
            <a:ext cx="8061325" cy="3960440"/>
          </a:xfrm>
        </p:spPr>
        <p:txBody>
          <a:bodyPr/>
          <a:lstStyle/>
          <a:p>
            <a:pPr marL="88900" indent="0">
              <a:lnSpc>
                <a:spcPct val="100000"/>
              </a:lnSpc>
              <a:spcAft>
                <a:spcPct val="65000"/>
              </a:spcAft>
            </a:pPr>
            <a:r>
              <a:rPr lang="de-DE" sz="2400" dirty="0">
                <a:solidFill>
                  <a:srgbClr val="C50E1F"/>
                </a:solidFill>
              </a:rPr>
              <a:t>Agenda</a:t>
            </a:r>
            <a:endParaRPr lang="en-US" sz="2400" dirty="0"/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800" dirty="0" smtClean="0"/>
              <a:t>Project Goals/</a:t>
            </a:r>
            <a:r>
              <a:rPr lang="en-US" sz="1800" dirty="0" err="1" smtClean="0"/>
              <a:t>Defnition</a:t>
            </a:r>
            <a:r>
              <a:rPr lang="en-US" sz="1800" dirty="0" smtClean="0"/>
              <a:t> </a:t>
            </a:r>
            <a:r>
              <a:rPr lang="en-US" sz="1800" dirty="0" smtClean="0"/>
              <a:t>(Wrap-Up</a:t>
            </a:r>
            <a:r>
              <a:rPr lang="en-US" sz="1800" dirty="0" smtClean="0"/>
              <a:t>)</a:t>
            </a: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800" dirty="0" smtClean="0"/>
              <a:t>Literature Review</a:t>
            </a:r>
            <a:endParaRPr lang="en-US" sz="1800" dirty="0" smtClean="0"/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800" dirty="0" smtClean="0"/>
              <a:t>Datasets</a:t>
            </a: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800" dirty="0" smtClean="0"/>
              <a:t>Algorithms</a:t>
            </a:r>
            <a:endParaRPr lang="en-US" sz="1800" dirty="0" smtClean="0"/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800" dirty="0" smtClean="0">
                <a:cs typeface="Arial"/>
              </a:rPr>
              <a:t>Preliminary Results</a:t>
            </a: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800" dirty="0" smtClean="0"/>
              <a:t>Demo</a:t>
            </a:r>
            <a:endParaRPr lang="en-US" sz="1800" dirty="0" smtClean="0">
              <a:cs typeface="Arial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800" dirty="0" smtClean="0">
                <a:cs typeface="Arial"/>
              </a:rPr>
              <a:t>Encountered Challenges</a:t>
            </a:r>
            <a:endParaRPr lang="en-US" sz="1800" dirty="0">
              <a:cs typeface="Arial"/>
            </a:endParaRP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,Sans-Serif"/>
              <a:buChar char="•"/>
            </a:pPr>
            <a:r>
              <a:rPr lang="en-US" sz="1800" dirty="0" smtClean="0"/>
              <a:t>Milestone </a:t>
            </a:r>
            <a:r>
              <a:rPr lang="en-US" sz="1800" dirty="0" smtClean="0"/>
              <a:t>Schedule</a:t>
            </a: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,Sans-Serif"/>
              <a:buChar char="•"/>
            </a:pPr>
            <a:r>
              <a:rPr lang="de-DE" sz="1800" dirty="0" smtClean="0">
                <a:cs typeface="Arial"/>
              </a:rPr>
              <a:t>References</a:t>
            </a:r>
            <a:endParaRPr lang="de-DE" sz="1800" dirty="0">
              <a:cs typeface="Arial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 smtClean="0"/>
              <a:t>Presentation</a:t>
            </a:r>
            <a:endParaRPr 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 bwMode="auto">
          <a:xfrm>
            <a:off x="7164288" y="6237312"/>
            <a:ext cx="1584176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343FC0-8317-47AA-82E7-A59256C5C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560" y="3135875"/>
            <a:ext cx="7989515" cy="1163075"/>
          </a:xfrm>
        </p:spPr>
        <p:txBody>
          <a:bodyPr/>
          <a:lstStyle/>
          <a:p>
            <a:pPr algn="ctr"/>
            <a:r>
              <a:rPr lang="en-US" sz="3600" dirty="0" smtClean="0">
                <a:cs typeface="Arial"/>
              </a:rPr>
              <a:t>Thank you for your attention!</a:t>
            </a:r>
            <a:br>
              <a:rPr lang="en-US" sz="3600" dirty="0" smtClean="0">
                <a:cs typeface="Arial"/>
              </a:rPr>
            </a:br>
            <a:r>
              <a:rPr lang="en-US" sz="3600" dirty="0" smtClean="0">
                <a:cs typeface="Arial"/>
              </a:rPr>
              <a:t/>
            </a:r>
            <a:br>
              <a:rPr lang="en-US" sz="3600" dirty="0" smtClean="0">
                <a:cs typeface="Arial"/>
              </a:rPr>
            </a:br>
            <a:r>
              <a:rPr lang="en-US" sz="3600" dirty="0" smtClean="0">
                <a:cs typeface="Arial"/>
              </a:rPr>
              <a:t>Questions </a:t>
            </a:r>
            <a:r>
              <a:rPr lang="en-US" sz="3600" dirty="0">
                <a:cs typeface="Arial"/>
              </a:rPr>
              <a:t>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A1AEE8-469B-4D9E-9FF1-45283519D0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8DF638-BAD6-46AE-93CC-E81F29E28F67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444089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384721"/>
          </a:xfrm>
        </p:spPr>
        <p:txBody>
          <a:bodyPr/>
          <a:lstStyle/>
          <a:p>
            <a:r>
              <a:rPr lang="en-US" dirty="0" smtClean="0"/>
              <a:t>Project Goals (Wrap-up)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08DF638-BAD6-46AE-93CC-E81F29E28F67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028485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B5AFC-DF82-4B21-8AF9-E208F9650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US" dirty="0" smtClean="0">
                <a:cs typeface="Arial"/>
              </a:rPr>
              <a:t>Project Goals (Wrap-Up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E6F157-0C3B-465D-9B61-723F1B3244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itchFamily="2" charset="2"/>
              <a:buChar char="§"/>
            </a:pPr>
            <a:endParaRPr lang="en-US" sz="1800" dirty="0" smtClean="0"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40B670-D807-497F-963B-9B985C0886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FABA18-B7EF-4525-80DA-65953A931E45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1033078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405304"/>
          </a:xfrm>
        </p:spPr>
        <p:txBody>
          <a:bodyPr/>
          <a:lstStyle/>
          <a:p>
            <a:r>
              <a:rPr lang="en-US" dirty="0" smtClean="0"/>
              <a:t>Literature review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08DF638-BAD6-46AE-93CC-E81F29E28F67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2910618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B5AFC-DF82-4B21-8AF9-E208F9650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dirty="0" smtClean="0">
                <a:cs typeface="Arial"/>
              </a:rPr>
              <a:t>Literature Review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E6F157-0C3B-465D-9B61-723F1B3244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itchFamily="2" charset="2"/>
              <a:buChar char="§"/>
            </a:pPr>
            <a:endParaRPr lang="en-US" sz="1800" dirty="0" smtClean="0"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40B670-D807-497F-963B-9B985C0886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FABA18-B7EF-4525-80DA-65953A931E45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2252207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405304"/>
          </a:xfrm>
        </p:spPr>
        <p:txBody>
          <a:bodyPr/>
          <a:lstStyle/>
          <a:p>
            <a:r>
              <a:rPr lang="en-US" dirty="0" smtClean="0"/>
              <a:t>Dataset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08DF638-BAD6-46AE-93CC-E81F29E28F67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1147938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B5AFC-DF82-4B21-8AF9-E208F9650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dirty="0" smtClean="0">
                <a:cs typeface="Arial"/>
              </a:rPr>
              <a:t>Dataset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E6F157-0C3B-465D-9B61-723F1B3244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itchFamily="2" charset="2"/>
              <a:buChar char="§"/>
            </a:pPr>
            <a:endParaRPr lang="en-US" sz="1800" dirty="0" smtClean="0"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40B670-D807-497F-963B-9B985C0886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FABA18-B7EF-4525-80DA-65953A931E45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2333388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405304"/>
          </a:xfrm>
        </p:spPr>
        <p:txBody>
          <a:bodyPr/>
          <a:lstStyle/>
          <a:p>
            <a:r>
              <a:rPr lang="en-US" dirty="0" smtClean="0"/>
              <a:t>Algorithm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Page </a:t>
            </a:r>
            <a:fld id="{6F903123-4CC2-4E08-BF04-132B6B4D8D3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08DF638-BAD6-46AE-93CC-E81F29E28F67}"/>
              </a:ext>
            </a:extLst>
          </p:cNvPr>
          <p:cNvSpPr/>
          <p:nvPr/>
        </p:nvSpPr>
        <p:spPr bwMode="auto">
          <a:xfrm>
            <a:off x="7029450" y="6191250"/>
            <a:ext cx="1571625" cy="6000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in Medical Image Processing – </a:t>
            </a:r>
            <a:r>
              <a:rPr lang="de-DE" dirty="0" err="1"/>
              <a:t>Midterm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080298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TU_PPT_Master_mitBild_V02_Aussicht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_PPT_Master_mitBild_V02_Aussicht</Template>
  <TotalTime>26</TotalTime>
  <Words>286</Words>
  <Application>Microsoft Office PowerPoint</Application>
  <PresentationFormat>On-screen Show (4:3)</PresentationFormat>
  <Paragraphs>69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Arial,Sans-Serif</vt:lpstr>
      <vt:lpstr>Wingdings</vt:lpstr>
      <vt:lpstr>TU_PPT_Master_mitBild_V02_Aussicht</vt:lpstr>
      <vt:lpstr>Machine Learning in Medical Image Processing Midterm Presentation</vt:lpstr>
      <vt:lpstr>PowerPoint Presentation</vt:lpstr>
      <vt:lpstr>Project Goals (Wrap-up)</vt:lpstr>
      <vt:lpstr>Project Goals (Wrap-Up)</vt:lpstr>
      <vt:lpstr>Literature review</vt:lpstr>
      <vt:lpstr>Literature Review</vt:lpstr>
      <vt:lpstr>Datasets</vt:lpstr>
      <vt:lpstr>Datasets</vt:lpstr>
      <vt:lpstr>Algorithms</vt:lpstr>
      <vt:lpstr>Algorithms</vt:lpstr>
      <vt:lpstr>Preliminary Results</vt:lpstr>
      <vt:lpstr>Preliminary Results</vt:lpstr>
      <vt:lpstr>DEMO</vt:lpstr>
      <vt:lpstr>Demo</vt:lpstr>
      <vt:lpstr>Encountered Challenges</vt:lpstr>
      <vt:lpstr>Encountered Challenges</vt:lpstr>
      <vt:lpstr>Milestone Schedule</vt:lpstr>
      <vt:lpstr>Schedule</vt:lpstr>
      <vt:lpstr>References</vt:lpstr>
      <vt:lpstr>Thank you for your attention!  Questions ?</vt:lpstr>
    </vt:vector>
  </TitlesOfParts>
  <Company>TU-Berli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R HABEN DIE IDEE FÜR DIE ZUKUNFT</dc:title>
  <dc:creator>dinaro</dc:creator>
  <cp:lastModifiedBy>Isi</cp:lastModifiedBy>
  <cp:revision>420</cp:revision>
  <cp:lastPrinted>2015-07-22T10:43:36Z</cp:lastPrinted>
  <dcterms:created xsi:type="dcterms:W3CDTF">2013-10-10T08:42:41Z</dcterms:created>
  <dcterms:modified xsi:type="dcterms:W3CDTF">2020-05-27T08:19:41Z</dcterms:modified>
</cp:coreProperties>
</file>